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708" r:id="rId1"/>
  </p:sldMasterIdLst>
  <p:notesMasterIdLst>
    <p:notesMasterId r:id="rId6"/>
  </p:notesMasterIdLst>
  <p:handoutMasterIdLst>
    <p:handoutMasterId r:id="rId7"/>
  </p:handoutMasterIdLst>
  <p:sldIdLst>
    <p:sldId id="1050" r:id="rId2"/>
    <p:sldId id="362" r:id="rId3"/>
    <p:sldId id="1051" r:id="rId4"/>
    <p:sldId id="1047" r:id="rId5"/>
  </p:sldIdLst>
  <p:sldSz cx="9144000" cy="6858000" type="screen4x3"/>
  <p:notesSz cx="6797675" cy="9926638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1pPr>
    <a:lvl2pPr marL="4572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2pPr>
    <a:lvl3pPr marL="9144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3pPr>
    <a:lvl4pPr marL="13716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4pPr>
    <a:lvl5pPr marL="18288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5pPr>
    <a:lvl6pPr marL="22860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6pPr>
    <a:lvl7pPr marL="27432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7pPr>
    <a:lvl8pPr marL="32004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8pPr>
    <a:lvl9pPr marL="36576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9pPr>
  </p:defaultTextStyle>
  <p:extLst>
    <p:ext uri="{EFAFB233-063F-42B5-8137-9DF3F51BA10A}">
      <p15:sldGuideLst xmlns:p15="http://schemas.microsoft.com/office/powerpoint/2012/main">
        <p15:guide id="1" orient="horz" pos="2372">
          <p15:clr>
            <a:srgbClr val="A4A3A4"/>
          </p15:clr>
        </p15:guide>
        <p15:guide id="2" orient="horz" pos="480">
          <p15:clr>
            <a:srgbClr val="A4A3A4"/>
          </p15:clr>
        </p15:guide>
        <p15:guide id="3" orient="horz" pos="1130">
          <p15:clr>
            <a:srgbClr val="A4A3A4"/>
          </p15:clr>
        </p15:guide>
        <p15:guide id="4" orient="horz" pos="1684">
          <p15:clr>
            <a:srgbClr val="A4A3A4"/>
          </p15:clr>
        </p15:guide>
        <p15:guide id="5" orient="horz" pos="2958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jarne Graabech Sørensen" initials="BGS" lastIdx="9" clrIdx="0"/>
  <p:cmAuthor id="1" name="Steen Kærn Christiansen" initials="SKC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E01DBF-2644-40F0-A170-8C696CD8CACE}" v="7" dt="2025-11-14T07:46:49.910"/>
  </p1510:revLst>
</p1510:revInfo>
</file>

<file path=ppt/tableStyles.xml><?xml version="1.0" encoding="utf-8"?>
<a:tblStyleLst xmlns:a="http://schemas.openxmlformats.org/drawingml/2006/main" def="{5C22544A-7EE6-4342-B048-85BDC9FD1C3A}">
  <a:tblStyle styleId="{912C8C85-51F0-491E-9774-3900AFEF0FD7}" styleName="Lyst layout 2 - Markering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2DE63D5-997A-4646-A377-4702673A728D}" styleName="Lyst layout 2 - Markering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8B1032C-EA38-4F05-BA0D-38AFFFC7BED3}" styleName="Lyst layout 3 - Markering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llemlayout 1 - Markering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Mellemlayout 2 - Marker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llemlayout 4 - Markering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Mellemlayout 3 - Markering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AF606853-7671-496A-8E4F-DF71F8EC918B}" styleName="Mørkt layout 1 - Markering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Mørkt layout 2 - Markering 5/Markering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2838BEF-8BB2-4498-84A7-C5851F593DF1}" styleName="Mellemlayout 4 - Marker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ema til typografi 1 - Markering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01" autoAdjust="0"/>
    <p:restoredTop sz="87952" autoAdjust="0"/>
  </p:normalViewPr>
  <p:slideViewPr>
    <p:cSldViewPr snapToGrid="0">
      <p:cViewPr varScale="1">
        <p:scale>
          <a:sx n="55" d="100"/>
          <a:sy n="55" d="100"/>
        </p:scale>
        <p:origin x="1700" y="48"/>
      </p:cViewPr>
      <p:guideLst>
        <p:guide orient="horz" pos="2372"/>
        <p:guide orient="horz" pos="480"/>
        <p:guide orient="horz" pos="1130"/>
        <p:guide orient="horz" pos="1684"/>
        <p:guide orient="horz" pos="295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70" d="100"/>
          <a:sy n="170" d="100"/>
        </p:scale>
        <p:origin x="-1992" y="2634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strid Jacobsen" userId="007c082c-41e2-4fcb-b558-4dd575e214ed" providerId="ADAL" clId="{341C8759-4F61-4CA1-9BAC-A135E6C03C3C}"/>
    <pc:docChg chg="undo custSel addSld delSld modSld sldOrd">
      <pc:chgData name="Astrid Jacobsen" userId="007c082c-41e2-4fcb-b558-4dd575e214ed" providerId="ADAL" clId="{341C8759-4F61-4CA1-9BAC-A135E6C03C3C}" dt="2025-11-14T07:51:50.471" v="1084" actId="14100"/>
      <pc:docMkLst>
        <pc:docMk/>
      </pc:docMkLst>
      <pc:sldChg chg="del">
        <pc:chgData name="Astrid Jacobsen" userId="007c082c-41e2-4fcb-b558-4dd575e214ed" providerId="ADAL" clId="{341C8759-4F61-4CA1-9BAC-A135E6C03C3C}" dt="2025-11-14T07:17:04.218" v="0" actId="2696"/>
        <pc:sldMkLst>
          <pc:docMk/>
          <pc:sldMk cId="1217269354" sldId="258"/>
        </pc:sldMkLst>
      </pc:sldChg>
      <pc:sldChg chg="delSp modSp del mod">
        <pc:chgData name="Astrid Jacobsen" userId="007c082c-41e2-4fcb-b558-4dd575e214ed" providerId="ADAL" clId="{341C8759-4F61-4CA1-9BAC-A135E6C03C3C}" dt="2025-11-14T07:21:39.081" v="273" actId="2696"/>
        <pc:sldMkLst>
          <pc:docMk/>
          <pc:sldMk cId="2632963406" sldId="259"/>
        </pc:sldMkLst>
        <pc:spChg chg="mod">
          <ac:chgData name="Astrid Jacobsen" userId="007c082c-41e2-4fcb-b558-4dd575e214ed" providerId="ADAL" clId="{341C8759-4F61-4CA1-9BAC-A135E6C03C3C}" dt="2025-11-14T07:21:26.832" v="271" actId="6549"/>
          <ac:spMkLst>
            <pc:docMk/>
            <pc:sldMk cId="2632963406" sldId="259"/>
            <ac:spMk id="11" creationId="{B56A2843-BF84-4FAA-BBA5-EAEE85FFA002}"/>
          </ac:spMkLst>
        </pc:spChg>
        <pc:picChg chg="del">
          <ac:chgData name="Astrid Jacobsen" userId="007c082c-41e2-4fcb-b558-4dd575e214ed" providerId="ADAL" clId="{341C8759-4F61-4CA1-9BAC-A135E6C03C3C}" dt="2025-11-14T07:21:30.307" v="272" actId="478"/>
          <ac:picMkLst>
            <pc:docMk/>
            <pc:sldMk cId="2632963406" sldId="259"/>
            <ac:picMk id="6" creationId="{7968222D-1484-4E82-A5BE-8B8F373C7DA2}"/>
          </ac:picMkLst>
        </pc:picChg>
      </pc:sldChg>
      <pc:sldChg chg="add del">
        <pc:chgData name="Astrid Jacobsen" userId="007c082c-41e2-4fcb-b558-4dd575e214ed" providerId="ADAL" clId="{341C8759-4F61-4CA1-9BAC-A135E6C03C3C}" dt="2025-11-14T07:49:30.792" v="1069" actId="2696"/>
        <pc:sldMkLst>
          <pc:docMk/>
          <pc:sldMk cId="2973279181" sldId="315"/>
        </pc:sldMkLst>
      </pc:sldChg>
      <pc:sldChg chg="del">
        <pc:chgData name="Astrid Jacobsen" userId="007c082c-41e2-4fcb-b558-4dd575e214ed" providerId="ADAL" clId="{341C8759-4F61-4CA1-9BAC-A135E6C03C3C}" dt="2025-11-14T07:41:14.461" v="918" actId="2696"/>
        <pc:sldMkLst>
          <pc:docMk/>
          <pc:sldMk cId="642948437" sldId="351"/>
        </pc:sldMkLst>
      </pc:sldChg>
      <pc:sldChg chg="del">
        <pc:chgData name="Astrid Jacobsen" userId="007c082c-41e2-4fcb-b558-4dd575e214ed" providerId="ADAL" clId="{341C8759-4F61-4CA1-9BAC-A135E6C03C3C}" dt="2025-11-14T07:35:00.787" v="753" actId="2696"/>
        <pc:sldMkLst>
          <pc:docMk/>
          <pc:sldMk cId="2627156728" sldId="361"/>
        </pc:sldMkLst>
      </pc:sldChg>
      <pc:sldChg chg="addSp delSp modSp mod modClrScheme chgLayout">
        <pc:chgData name="Astrid Jacobsen" userId="007c082c-41e2-4fcb-b558-4dd575e214ed" providerId="ADAL" clId="{341C8759-4F61-4CA1-9BAC-A135E6C03C3C}" dt="2025-11-14T07:33:08.815" v="736" actId="14100"/>
        <pc:sldMkLst>
          <pc:docMk/>
          <pc:sldMk cId="600553110" sldId="362"/>
        </pc:sldMkLst>
        <pc:spChg chg="mod">
          <ac:chgData name="Astrid Jacobsen" userId="007c082c-41e2-4fcb-b558-4dd575e214ed" providerId="ADAL" clId="{341C8759-4F61-4CA1-9BAC-A135E6C03C3C}" dt="2025-11-14T07:32:45.147" v="730" actId="26606"/>
          <ac:spMkLst>
            <pc:docMk/>
            <pc:sldMk cId="600553110" sldId="362"/>
            <ac:spMk id="2" creationId="{00000000-0000-0000-0000-000000000000}"/>
          </ac:spMkLst>
        </pc:spChg>
        <pc:spChg chg="del mod">
          <ac:chgData name="Astrid Jacobsen" userId="007c082c-41e2-4fcb-b558-4dd575e214ed" providerId="ADAL" clId="{341C8759-4F61-4CA1-9BAC-A135E6C03C3C}" dt="2025-11-14T07:23:49.364" v="336" actId="22"/>
          <ac:spMkLst>
            <pc:docMk/>
            <pc:sldMk cId="600553110" sldId="362"/>
            <ac:spMk id="3" creationId="{00000000-0000-0000-0000-000000000000}"/>
          </ac:spMkLst>
        </pc:spChg>
        <pc:spChg chg="add mod">
          <ac:chgData name="Astrid Jacobsen" userId="007c082c-41e2-4fcb-b558-4dd575e214ed" providerId="ADAL" clId="{341C8759-4F61-4CA1-9BAC-A135E6C03C3C}" dt="2025-11-14T07:32:45.147" v="730" actId="26606"/>
          <ac:spMkLst>
            <pc:docMk/>
            <pc:sldMk cId="600553110" sldId="362"/>
            <ac:spMk id="8" creationId="{F39476FC-5E8D-DC1C-5AE5-D4C76EA196D7}"/>
          </ac:spMkLst>
        </pc:spChg>
        <pc:picChg chg="del">
          <ac:chgData name="Astrid Jacobsen" userId="007c082c-41e2-4fcb-b558-4dd575e214ed" providerId="ADAL" clId="{341C8759-4F61-4CA1-9BAC-A135E6C03C3C}" dt="2025-11-14T07:21:42.829" v="274" actId="478"/>
          <ac:picMkLst>
            <pc:docMk/>
            <pc:sldMk cId="600553110" sldId="362"/>
            <ac:picMk id="5" creationId="{CB571A73-68DE-277E-B91F-7558DB27F1D7}"/>
          </ac:picMkLst>
        </pc:picChg>
        <pc:picChg chg="add del mod ord">
          <ac:chgData name="Astrid Jacobsen" userId="007c082c-41e2-4fcb-b558-4dd575e214ed" providerId="ADAL" clId="{341C8759-4F61-4CA1-9BAC-A135E6C03C3C}" dt="2025-11-14T07:24:19.835" v="337" actId="478"/>
          <ac:picMkLst>
            <pc:docMk/>
            <pc:sldMk cId="600553110" sldId="362"/>
            <ac:picMk id="6" creationId="{D0ACB8DF-D94E-B3A7-D034-273387DE06D3}"/>
          </ac:picMkLst>
        </pc:picChg>
        <pc:picChg chg="add mod">
          <ac:chgData name="Astrid Jacobsen" userId="007c082c-41e2-4fcb-b558-4dd575e214ed" providerId="ADAL" clId="{341C8759-4F61-4CA1-9BAC-A135E6C03C3C}" dt="2025-11-14T07:33:08.815" v="736" actId="14100"/>
          <ac:picMkLst>
            <pc:docMk/>
            <pc:sldMk cId="600553110" sldId="362"/>
            <ac:picMk id="10" creationId="{D4C4A7F9-D86C-30D2-653C-74ABA728F380}"/>
          </ac:picMkLst>
        </pc:picChg>
      </pc:sldChg>
      <pc:sldChg chg="del">
        <pc:chgData name="Astrid Jacobsen" userId="007c082c-41e2-4fcb-b558-4dd575e214ed" providerId="ADAL" clId="{341C8759-4F61-4CA1-9BAC-A135E6C03C3C}" dt="2025-11-14T07:41:11.734" v="917" actId="2696"/>
        <pc:sldMkLst>
          <pc:docMk/>
          <pc:sldMk cId="1162835402" sldId="363"/>
        </pc:sldMkLst>
      </pc:sldChg>
      <pc:sldChg chg="del">
        <pc:chgData name="Astrid Jacobsen" userId="007c082c-41e2-4fcb-b558-4dd575e214ed" providerId="ADAL" clId="{341C8759-4F61-4CA1-9BAC-A135E6C03C3C}" dt="2025-11-14T07:41:17.123" v="919" actId="2696"/>
        <pc:sldMkLst>
          <pc:docMk/>
          <pc:sldMk cId="1455059843" sldId="366"/>
        </pc:sldMkLst>
      </pc:sldChg>
      <pc:sldChg chg="del">
        <pc:chgData name="Astrid Jacobsen" userId="007c082c-41e2-4fcb-b558-4dd575e214ed" providerId="ADAL" clId="{341C8759-4F61-4CA1-9BAC-A135E6C03C3C}" dt="2025-11-14T07:41:20.738" v="921" actId="2696"/>
        <pc:sldMkLst>
          <pc:docMk/>
          <pc:sldMk cId="1544941116" sldId="367"/>
        </pc:sldMkLst>
      </pc:sldChg>
      <pc:sldChg chg="del">
        <pc:chgData name="Astrid Jacobsen" userId="007c082c-41e2-4fcb-b558-4dd575e214ed" providerId="ADAL" clId="{341C8759-4F61-4CA1-9BAC-A135E6C03C3C}" dt="2025-11-14T07:41:19.058" v="920" actId="2696"/>
        <pc:sldMkLst>
          <pc:docMk/>
          <pc:sldMk cId="621174913" sldId="369"/>
        </pc:sldMkLst>
      </pc:sldChg>
      <pc:sldChg chg="delSp modSp del mod">
        <pc:chgData name="Astrid Jacobsen" userId="007c082c-41e2-4fcb-b558-4dd575e214ed" providerId="ADAL" clId="{341C8759-4F61-4CA1-9BAC-A135E6C03C3C}" dt="2025-11-14T07:34:50.640" v="752" actId="2696"/>
        <pc:sldMkLst>
          <pc:docMk/>
          <pc:sldMk cId="101704981" sldId="370"/>
        </pc:sldMkLst>
        <pc:spChg chg="mod">
          <ac:chgData name="Astrid Jacobsen" userId="007c082c-41e2-4fcb-b558-4dd575e214ed" providerId="ADAL" clId="{341C8759-4F61-4CA1-9BAC-A135E6C03C3C}" dt="2025-11-14T07:34:43.386" v="751" actId="20577"/>
          <ac:spMkLst>
            <pc:docMk/>
            <pc:sldMk cId="101704981" sldId="370"/>
            <ac:spMk id="2" creationId="{00000000-0000-0000-0000-000000000000}"/>
          </ac:spMkLst>
        </pc:spChg>
        <pc:picChg chg="del">
          <ac:chgData name="Astrid Jacobsen" userId="007c082c-41e2-4fcb-b558-4dd575e214ed" providerId="ADAL" clId="{341C8759-4F61-4CA1-9BAC-A135E6C03C3C}" dt="2025-11-14T07:34:01.590" v="747" actId="478"/>
          <ac:picMkLst>
            <pc:docMk/>
            <pc:sldMk cId="101704981" sldId="370"/>
            <ac:picMk id="8" creationId="{6FF5D65B-FF20-655C-F576-9B5462B88AB5}"/>
          </ac:picMkLst>
        </pc:picChg>
      </pc:sldChg>
      <pc:sldChg chg="delSp modSp del mod">
        <pc:chgData name="Astrid Jacobsen" userId="007c082c-41e2-4fcb-b558-4dd575e214ed" providerId="ADAL" clId="{341C8759-4F61-4CA1-9BAC-A135E6C03C3C}" dt="2025-11-14T07:41:06.436" v="916" actId="2696"/>
        <pc:sldMkLst>
          <pc:docMk/>
          <pc:sldMk cId="1809349232" sldId="371"/>
        </pc:sldMkLst>
        <pc:spChg chg="mod">
          <ac:chgData name="Astrid Jacobsen" userId="007c082c-41e2-4fcb-b558-4dd575e214ed" providerId="ADAL" clId="{341C8759-4F61-4CA1-9BAC-A135E6C03C3C}" dt="2025-11-14T07:35:20.745" v="763" actId="122"/>
          <ac:spMkLst>
            <pc:docMk/>
            <pc:sldMk cId="1809349232" sldId="371"/>
            <ac:spMk id="2" creationId="{00000000-0000-0000-0000-000000000000}"/>
          </ac:spMkLst>
        </pc:spChg>
        <pc:picChg chg="del">
          <ac:chgData name="Astrid Jacobsen" userId="007c082c-41e2-4fcb-b558-4dd575e214ed" providerId="ADAL" clId="{341C8759-4F61-4CA1-9BAC-A135E6C03C3C}" dt="2025-11-14T07:35:31.908" v="764" actId="478"/>
          <ac:picMkLst>
            <pc:docMk/>
            <pc:sldMk cId="1809349232" sldId="371"/>
            <ac:picMk id="6" creationId="{4AB84355-AF69-5BA0-BDEB-B32015A3756A}"/>
          </ac:picMkLst>
        </pc:picChg>
      </pc:sldChg>
      <pc:sldChg chg="addSp delSp modSp mod ord modClrScheme chgLayout">
        <pc:chgData name="Astrid Jacobsen" userId="007c082c-41e2-4fcb-b558-4dd575e214ed" providerId="ADAL" clId="{341C8759-4F61-4CA1-9BAC-A135E6C03C3C}" dt="2025-11-14T07:51:50.471" v="1084" actId="14100"/>
        <pc:sldMkLst>
          <pc:docMk/>
          <pc:sldMk cId="3323821013" sldId="1047"/>
        </pc:sldMkLst>
        <pc:spChg chg="mod">
          <ac:chgData name="Astrid Jacobsen" userId="007c082c-41e2-4fcb-b558-4dd575e214ed" providerId="ADAL" clId="{341C8759-4F61-4CA1-9BAC-A135E6C03C3C}" dt="2025-11-14T07:36:01.147" v="777" actId="122"/>
          <ac:spMkLst>
            <pc:docMk/>
            <pc:sldMk cId="3323821013" sldId="1047"/>
            <ac:spMk id="2" creationId="{00000000-0000-0000-0000-000000000000}"/>
          </ac:spMkLst>
        </pc:spChg>
        <pc:spChg chg="mod">
          <ac:chgData name="Astrid Jacobsen" userId="007c082c-41e2-4fcb-b558-4dd575e214ed" providerId="ADAL" clId="{341C8759-4F61-4CA1-9BAC-A135E6C03C3C}" dt="2025-11-14T07:42:21.151" v="929" actId="20577"/>
          <ac:spMkLst>
            <pc:docMk/>
            <pc:sldMk cId="3323821013" sldId="1047"/>
            <ac:spMk id="3" creationId="{00000000-0000-0000-0000-000000000000}"/>
          </ac:spMkLst>
        </pc:spChg>
        <pc:picChg chg="add del mod">
          <ac:chgData name="Astrid Jacobsen" userId="007c082c-41e2-4fcb-b558-4dd575e214ed" providerId="ADAL" clId="{341C8759-4F61-4CA1-9BAC-A135E6C03C3C}" dt="2025-11-14T07:31:46.317" v="722" actId="478"/>
          <ac:picMkLst>
            <pc:docMk/>
            <pc:sldMk cId="3323821013" sldId="1047"/>
            <ac:picMk id="5" creationId="{4153EAF5-3EE1-A4C1-677F-586DA16C3CD5}"/>
          </ac:picMkLst>
        </pc:picChg>
        <pc:picChg chg="del">
          <ac:chgData name="Astrid Jacobsen" userId="007c082c-41e2-4fcb-b558-4dd575e214ed" providerId="ADAL" clId="{341C8759-4F61-4CA1-9BAC-A135E6C03C3C}" dt="2025-11-14T07:27:50.688" v="458" actId="478"/>
          <ac:picMkLst>
            <pc:docMk/>
            <pc:sldMk cId="3323821013" sldId="1047"/>
            <ac:picMk id="6" creationId="{A160E01B-2887-F941-E567-3366960C4BCC}"/>
          </ac:picMkLst>
        </pc:picChg>
        <pc:picChg chg="add del mod">
          <ac:chgData name="Astrid Jacobsen" userId="007c082c-41e2-4fcb-b558-4dd575e214ed" providerId="ADAL" clId="{341C8759-4F61-4CA1-9BAC-A135E6C03C3C}" dt="2025-11-14T07:37:35.820" v="891" actId="478"/>
          <ac:picMkLst>
            <pc:docMk/>
            <pc:sldMk cId="3323821013" sldId="1047"/>
            <ac:picMk id="8" creationId="{CF3E129C-719A-F11B-A093-1BEDA7A6B961}"/>
          </ac:picMkLst>
        </pc:picChg>
        <pc:picChg chg="add mod">
          <ac:chgData name="Astrid Jacobsen" userId="007c082c-41e2-4fcb-b558-4dd575e214ed" providerId="ADAL" clId="{341C8759-4F61-4CA1-9BAC-A135E6C03C3C}" dt="2025-11-14T07:51:50.471" v="1084" actId="14100"/>
          <ac:picMkLst>
            <pc:docMk/>
            <pc:sldMk cId="3323821013" sldId="1047"/>
            <ac:picMk id="10" creationId="{237D6EE4-8ED9-993B-1B59-446899F04C4D}"/>
          </ac:picMkLst>
        </pc:picChg>
      </pc:sldChg>
      <pc:sldChg chg="del">
        <pc:chgData name="Astrid Jacobsen" userId="007c082c-41e2-4fcb-b558-4dd575e214ed" providerId="ADAL" clId="{341C8759-4F61-4CA1-9BAC-A135E6C03C3C}" dt="2025-11-14T07:41:24.198" v="922" actId="2696"/>
        <pc:sldMkLst>
          <pc:docMk/>
          <pc:sldMk cId="2645469544" sldId="1049"/>
        </pc:sldMkLst>
      </pc:sldChg>
      <pc:sldChg chg="delSp modSp mod">
        <pc:chgData name="Astrid Jacobsen" userId="007c082c-41e2-4fcb-b558-4dd575e214ed" providerId="ADAL" clId="{341C8759-4F61-4CA1-9BAC-A135E6C03C3C}" dt="2025-11-14T07:50:08.603" v="1080" actId="6549"/>
        <pc:sldMkLst>
          <pc:docMk/>
          <pc:sldMk cId="342709361" sldId="1050"/>
        </pc:sldMkLst>
        <pc:spChg chg="mod">
          <ac:chgData name="Astrid Jacobsen" userId="007c082c-41e2-4fcb-b558-4dd575e214ed" providerId="ADAL" clId="{341C8759-4F61-4CA1-9BAC-A135E6C03C3C}" dt="2025-11-14T07:26:27.929" v="445" actId="6549"/>
          <ac:spMkLst>
            <pc:docMk/>
            <pc:sldMk cId="342709361" sldId="1050"/>
            <ac:spMk id="2" creationId="{4D4F0A24-B820-4E41-7047-652B87478915}"/>
          </ac:spMkLst>
        </pc:spChg>
        <pc:spChg chg="mod">
          <ac:chgData name="Astrid Jacobsen" userId="007c082c-41e2-4fcb-b558-4dd575e214ed" providerId="ADAL" clId="{341C8759-4F61-4CA1-9BAC-A135E6C03C3C}" dt="2025-11-14T07:50:08.603" v="1080" actId="6549"/>
          <ac:spMkLst>
            <pc:docMk/>
            <pc:sldMk cId="342709361" sldId="1050"/>
            <ac:spMk id="3" creationId="{2AA84774-B203-813E-60C9-5B887C95BB73}"/>
          </ac:spMkLst>
        </pc:spChg>
        <pc:picChg chg="del">
          <ac:chgData name="Astrid Jacobsen" userId="007c082c-41e2-4fcb-b558-4dd575e214ed" providerId="ADAL" clId="{341C8759-4F61-4CA1-9BAC-A135E6C03C3C}" dt="2025-11-14T07:17:10.134" v="1" actId="478"/>
          <ac:picMkLst>
            <pc:docMk/>
            <pc:sldMk cId="342709361" sldId="1050"/>
            <ac:picMk id="7" creationId="{63AB93C1-CF1A-EC2C-3AE9-3685DE3F8339}"/>
          </ac:picMkLst>
        </pc:picChg>
      </pc:sldChg>
      <pc:sldChg chg="modSp add mod">
        <pc:chgData name="Astrid Jacobsen" userId="007c082c-41e2-4fcb-b558-4dd575e214ed" providerId="ADAL" clId="{341C8759-4F61-4CA1-9BAC-A135E6C03C3C}" dt="2025-11-14T07:51:39.707" v="1082" actId="14100"/>
        <pc:sldMkLst>
          <pc:docMk/>
          <pc:sldMk cId="1406729558" sldId="1051"/>
        </pc:sldMkLst>
        <pc:spChg chg="mod">
          <ac:chgData name="Astrid Jacobsen" userId="007c082c-41e2-4fcb-b558-4dd575e214ed" providerId="ADAL" clId="{341C8759-4F61-4CA1-9BAC-A135E6C03C3C}" dt="2025-11-14T07:49:56.504" v="1079" actId="20577"/>
          <ac:spMkLst>
            <pc:docMk/>
            <pc:sldMk cId="1406729558" sldId="1051"/>
            <ac:spMk id="3" creationId="{68B9A16D-88CB-6798-9907-2817C56827CB}"/>
          </ac:spMkLst>
        </pc:spChg>
        <pc:picChg chg="mod">
          <ac:chgData name="Astrid Jacobsen" userId="007c082c-41e2-4fcb-b558-4dd575e214ed" providerId="ADAL" clId="{341C8759-4F61-4CA1-9BAC-A135E6C03C3C}" dt="2025-11-14T07:51:39.707" v="1082" actId="14100"/>
          <ac:picMkLst>
            <pc:docMk/>
            <pc:sldMk cId="1406729558" sldId="1051"/>
            <ac:picMk id="8" creationId="{F335E29C-F3FA-946E-C1AA-1218F036EB78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6888"/>
          </a:xfrm>
          <a:prstGeom prst="rect">
            <a:avLst/>
          </a:prstGeom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49689" y="1"/>
            <a:ext cx="2946400" cy="496888"/>
          </a:xfrm>
          <a:prstGeom prst="rect">
            <a:avLst/>
          </a:prstGeom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r>
              <a:rPr lang="da-DK"/>
              <a:t>14-12-2015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1" y="9428165"/>
            <a:ext cx="2946400" cy="496887"/>
          </a:xfrm>
          <a:prstGeom prst="rect">
            <a:avLst/>
          </a:prstGeom>
        </p:spPr>
        <p:txBody>
          <a:bodyPr vert="horz" wrap="square" lIns="91303" tIns="45651" rIns="91303" bIns="45651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49689" y="9428165"/>
            <a:ext cx="2946400" cy="496887"/>
          </a:xfrm>
          <a:prstGeom prst="rect">
            <a:avLst/>
          </a:prstGeom>
        </p:spPr>
        <p:txBody>
          <a:bodyPr vert="horz" wrap="square" lIns="91303" tIns="45651" rIns="91303" bIns="45651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fld id="{E520CA43-DB7E-4407-B17B-C208A2B1F30C}" type="slidenum">
              <a:rPr lang="da-DK"/>
              <a:pPr>
                <a:defRPr/>
              </a:pPr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94827945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Rectangle 2"/>
          <p:cNvSpPr>
            <a:spLocks noGrp="1" noChangeArrowheads="1"/>
          </p:cNvSpPr>
          <p:nvPr>
            <p:ph type="body" sz="quarter" idx="1"/>
          </p:nvPr>
        </p:nvSpPr>
        <p:spPr bwMode="auto">
          <a:xfrm>
            <a:off x="679452" y="4714877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97303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 pitchFamily="-106" charset="-128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F572CE-8432-B8BF-F9D1-7454A01DCE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>
            <a:extLst>
              <a:ext uri="{FF2B5EF4-FFF2-40B4-BE49-F238E27FC236}">
                <a16:creationId xmlns:a16="http://schemas.microsoft.com/office/drawing/2014/main" id="{FC012CFA-E89E-9571-21CF-142189E23E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CA591170-21D1-FD06-8025-4454BF587A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7852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08840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C733A0-26DE-9681-2113-F7977B98C9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>
            <a:extLst>
              <a:ext uri="{FF2B5EF4-FFF2-40B4-BE49-F238E27FC236}">
                <a16:creationId xmlns:a16="http://schemas.microsoft.com/office/drawing/2014/main" id="{9047CB05-D578-1113-9303-EFDAF4B9A8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BE612ECA-1CE3-1FFB-8359-6971ED446B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65812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05725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59DA85-E237-414D-A4A7-E1EE331E0E8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533525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D7F6E5-B367-4E9C-9CA9-62FF49E6CF0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6A73F-D75F-462B-B0DF-34EF239532E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24B1BF-5002-4073-ABF8-66C9A5C2DC3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64623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357431"/>
            <a:ext cx="4040188" cy="37687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64623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357429"/>
            <a:ext cx="4041775" cy="37687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ED5B8-449C-4C00-9ED1-2158D4C717D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4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571625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AA027F-BB32-4158-BFC0-A1BCE3269D9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285875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3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4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7CA500-E3E2-4B4E-A2E9-65073109609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225741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000364" y="273050"/>
            <a:ext cx="5686436" cy="585311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1" y="1435100"/>
            <a:ext cx="225741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EB8B4D-06E0-476D-86FC-F56588E9C8D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85918" y="5000636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357158" y="357166"/>
            <a:ext cx="8429684" cy="464347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a-DK" noProof="0"/>
              <a:t>Klik på ikonet for at tilføje et billede</a:t>
            </a:r>
            <a:endParaRPr lang="da-DK" noProof="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85918" y="5567374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345C3B-6938-4175-8ED4-F5202FE76C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938569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Pladsholder til ti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iteltypografi i masteren</a:t>
            </a:r>
          </a:p>
        </p:txBody>
      </p:sp>
      <p:sp>
        <p:nvSpPr>
          <p:cNvPr id="9220" name="Pladsholder til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ypografi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357188" y="6572250"/>
            <a:ext cx="1214437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smtClean="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143000" y="6572250"/>
            <a:ext cx="2895600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0" y="6572250"/>
            <a:ext cx="428625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fld id="{40036BC6-276E-4C58-9CD9-1F921C17584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263" name="Picture 239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85563" y="6325719"/>
            <a:ext cx="2108310" cy="263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74" r:id="rId5"/>
    <p:sldLayoutId id="2147483881" r:id="rId6"/>
    <p:sldLayoutId id="2147483882" r:id="rId7"/>
    <p:sldLayoutId id="2147483875" r:id="rId8"/>
    <p:sldLayoutId id="2147483876" r:id="rId9"/>
  </p:sldLayoutIdLst>
  <p:hf sldNum="0"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b="1" kern="1200">
          <a:solidFill>
            <a:schemeClr val="tx1"/>
          </a:solidFill>
          <a:latin typeface="+mj-lt"/>
          <a:ea typeface="ＭＳ Ｐゴシック" pitchFamily="-106" charset="-128"/>
          <a:cs typeface="ＭＳ Ｐゴシック" pitchFamily="-106" charset="-128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aj@bib.sdu.dk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mitsdu.dk/da/service/bibliotek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libguides.sdu.dk/jura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libguides.sdu.dk/ai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DD73D4-4EE3-B527-1D01-3F53EDBD84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4F0A24-B820-4E41-7047-652B87478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380" y="226632"/>
            <a:ext cx="9144000" cy="553211"/>
          </a:xfrm>
        </p:spPr>
        <p:txBody>
          <a:bodyPr/>
          <a:lstStyle/>
          <a:p>
            <a:pPr algn="ctr"/>
            <a:r>
              <a:rPr lang="da-DK" sz="3200" dirty="0"/>
              <a:t>Syddansk Universitetsbibliotek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AA84774-B203-813E-60C9-5B887C95BB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8584250" cy="4525963"/>
          </a:xfrm>
        </p:spPr>
        <p:txBody>
          <a:bodyPr/>
          <a:lstStyle/>
          <a:p>
            <a:endParaRPr lang="da-DK" dirty="0"/>
          </a:p>
          <a:p>
            <a:pPr marL="0" indent="0" algn="ctr">
              <a:buNone/>
            </a:pPr>
            <a:endParaRPr lang="da-DK" b="1" dirty="0"/>
          </a:p>
          <a:p>
            <a:pPr marL="0" indent="0" algn="ctr">
              <a:buNone/>
            </a:pPr>
            <a:r>
              <a:rPr lang="da-DK" sz="3200" b="1" dirty="0"/>
              <a:t>Intro fra biblioteket</a:t>
            </a:r>
          </a:p>
          <a:p>
            <a:pPr marL="0" indent="0" algn="ctr">
              <a:buNone/>
            </a:pPr>
            <a:r>
              <a:rPr lang="da-DK" sz="3200" b="1" dirty="0"/>
              <a:t>november 2025</a:t>
            </a:r>
          </a:p>
          <a:p>
            <a:pPr marL="0" indent="0" algn="ctr">
              <a:buNone/>
            </a:pPr>
            <a:endParaRPr lang="da-DK" sz="3600" b="1" dirty="0"/>
          </a:p>
          <a:p>
            <a:pPr marL="0" indent="0" algn="ctr">
              <a:buNone/>
            </a:pPr>
            <a:r>
              <a:rPr lang="da-DK" sz="1800" b="1" dirty="0"/>
              <a:t>Astrid Jacobsen</a:t>
            </a:r>
          </a:p>
          <a:p>
            <a:pPr marL="0" indent="0" algn="ctr">
              <a:buNone/>
            </a:pPr>
            <a:r>
              <a:rPr lang="da-DK" sz="1800" b="1" dirty="0">
                <a:hlinkClick r:id="rId3"/>
              </a:rPr>
              <a:t>aj@bib.sdu.dk</a:t>
            </a:r>
            <a:r>
              <a:rPr lang="da-DK" sz="1800" b="1" dirty="0"/>
              <a:t> 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sz="2000" dirty="0"/>
          </a:p>
          <a:p>
            <a:pPr marL="0" indent="0">
              <a:buNone/>
            </a:pPr>
            <a:endParaRPr lang="da-DK" sz="2000" dirty="0"/>
          </a:p>
          <a:p>
            <a:pPr marL="0" indent="0">
              <a:buNone/>
            </a:pPr>
            <a:endParaRPr lang="da-DK" sz="2000" dirty="0"/>
          </a:p>
          <a:p>
            <a:pPr marL="0" indent="0">
              <a:buNone/>
            </a:pPr>
            <a:endParaRPr lang="da-DK" sz="2000" dirty="0"/>
          </a:p>
          <a:p>
            <a:pPr marL="0" indent="0">
              <a:buNone/>
            </a:pPr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3427093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wrap="square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a-DK">
                <a:hlinkClick r:id="rId3"/>
              </a:rPr>
              <a:t>Bibliotekets hjemmeside</a:t>
            </a:r>
            <a:br>
              <a:rPr lang="da-DK"/>
            </a:br>
            <a:endParaRPr lang="da-DK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39476FC-5E8D-DC1C-5AE5-D4C76EA196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 wrap="square" anchor="t">
            <a:normAutofit/>
          </a:bodyPr>
          <a:lstStyle/>
          <a:p>
            <a:pPr marL="0" indent="0">
              <a:buNone/>
            </a:pPr>
            <a:r>
              <a:rPr lang="da-DK" dirty="0"/>
              <a:t>Her finder du bl.a. oplysninger om åbningstider og faciliteter.</a:t>
            </a:r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C4A7F9-D86C-30D2-653C-74ABA728F3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9953" y="2615877"/>
            <a:ext cx="4444679" cy="196769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00553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B27C72-2E3A-840D-2B2E-9DE3D038FA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646FAB-286D-62E5-C2CA-86812E9B2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wrap="square" anchor="ctr">
            <a:normAutofit/>
          </a:bodyPr>
          <a:lstStyle/>
          <a:p>
            <a:r>
              <a:rPr lang="da-DK" altLang="da-DK">
                <a:hlinkClick r:id="rId3"/>
              </a:rPr>
              <a:t>Jura-guiden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8B9A16D-88CB-6798-9907-2817C56827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 wrap="square" anchor="t">
            <a:normAutofit/>
          </a:bodyPr>
          <a:lstStyle/>
          <a:p>
            <a:pPr marL="0" indent="0">
              <a:buNone/>
            </a:pPr>
            <a:r>
              <a:rPr lang="da-DK" dirty="0"/>
              <a:t>Her finder du links til relevante databaser, hjemmesider og vejledninger. Her finder du også links til kurser på biblioteket samt til Book en bibliotekar. 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335E29C-F3FA-946E-C1AA-1218F036EB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5800" y="2939970"/>
            <a:ext cx="4381982" cy="23033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067295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wrap="square" anchor="ctr">
            <a:normAutofit/>
          </a:bodyPr>
          <a:lstStyle/>
          <a:p>
            <a:r>
              <a:rPr lang="da-DK" altLang="da-DK" dirty="0">
                <a:hlinkClick r:id="rId3"/>
              </a:rPr>
              <a:t>AI-guid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 wrap="square" anchor="t">
            <a:normAutofit/>
          </a:bodyPr>
          <a:lstStyle/>
          <a:p>
            <a:pPr marL="0" indent="0">
              <a:buNone/>
            </a:pPr>
            <a:r>
              <a:rPr lang="da-DK" dirty="0"/>
              <a:t>Her finder du bl.a. links til AI- søgeværktøjer på biblioteket. Samt links til </a:t>
            </a:r>
            <a:r>
              <a:rPr lang="da-DK" dirty="0" err="1"/>
              <a:t>SDU’s</a:t>
            </a:r>
            <a:r>
              <a:rPr lang="da-DK" dirty="0"/>
              <a:t> regler og vejledning om AI.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37D6EE4-8ED9-993B-1B59-446899F04C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5800" y="2939970"/>
            <a:ext cx="4191000" cy="18172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238210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æsentation-SDUB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lassisk kontor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æsentation-SDUB</Template>
  <TotalTime>2079</TotalTime>
  <Pages>0</Pages>
  <Words>85</Words>
  <Characters>0</Characters>
  <Application>Microsoft Office PowerPoint</Application>
  <PresentationFormat>On-screen Show (4:3)</PresentationFormat>
  <Lines>0</Lines>
  <Paragraphs>23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Gill Sans</vt:lpstr>
      <vt:lpstr>Gill Sans MT</vt:lpstr>
      <vt:lpstr>Wingdings</vt:lpstr>
      <vt:lpstr>Præsentation-SDUB</vt:lpstr>
      <vt:lpstr>think-cell Slide</vt:lpstr>
      <vt:lpstr>Syddansk Universitetsbibliotek</vt:lpstr>
      <vt:lpstr>Bibliotekets hjemmeside </vt:lpstr>
      <vt:lpstr>Jura-guiden</vt:lpstr>
      <vt:lpstr>AI-guiden</vt:lpstr>
    </vt:vector>
  </TitlesOfParts>
  <Company>Syddansk Unversitet - University of Southern Denmark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lkommen</dc:title>
  <dc:creator>Jette Jorsal</dc:creator>
  <cp:lastModifiedBy>Astrid Jacobsen</cp:lastModifiedBy>
  <cp:revision>82</cp:revision>
  <cp:lastPrinted>2015-11-17T09:19:47Z</cp:lastPrinted>
  <dcterms:created xsi:type="dcterms:W3CDTF">2016-09-12T12:03:39Z</dcterms:created>
  <dcterms:modified xsi:type="dcterms:W3CDTF">2025-11-14T07:51:52Z</dcterms:modified>
</cp:coreProperties>
</file>